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1"/>
  </p:notesMasterIdLst>
  <p:sldIdLst>
    <p:sldId id="295" r:id="rId2"/>
    <p:sldId id="258" r:id="rId3"/>
    <p:sldId id="296" r:id="rId4"/>
    <p:sldId id="297" r:id="rId5"/>
    <p:sldId id="259" r:id="rId6"/>
    <p:sldId id="279" r:id="rId7"/>
    <p:sldId id="280" r:id="rId8"/>
    <p:sldId id="282" r:id="rId9"/>
    <p:sldId id="263" r:id="rId10"/>
    <p:sldId id="281" r:id="rId11"/>
    <p:sldId id="291" r:id="rId12"/>
    <p:sldId id="294" r:id="rId13"/>
    <p:sldId id="292" r:id="rId14"/>
    <p:sldId id="293" r:id="rId15"/>
    <p:sldId id="276" r:id="rId16"/>
    <p:sldId id="277" r:id="rId17"/>
    <p:sldId id="269" r:id="rId18"/>
    <p:sldId id="278" r:id="rId19"/>
    <p:sldId id="286" r:id="rId20"/>
    <p:sldId id="265" r:id="rId21"/>
    <p:sldId id="285" r:id="rId22"/>
    <p:sldId id="272" r:id="rId23"/>
    <p:sldId id="287" r:id="rId24"/>
    <p:sldId id="288" r:id="rId25"/>
    <p:sldId id="266" r:id="rId26"/>
    <p:sldId id="289" r:id="rId27"/>
    <p:sldId id="290" r:id="rId28"/>
    <p:sldId id="298" r:id="rId29"/>
    <p:sldId id="299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orient="horz" pos="4178" userDrawn="1">
          <p15:clr>
            <a:srgbClr val="A4A3A4"/>
          </p15:clr>
        </p15:guide>
        <p15:guide id="3" orient="horz" pos="890" userDrawn="1">
          <p15:clr>
            <a:srgbClr val="A4A3A4"/>
          </p15:clr>
        </p15:guide>
        <p15:guide id="4" orient="horz" pos="187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272" userDrawn="1">
          <p15:clr>
            <a:srgbClr val="A4A3A4"/>
          </p15:clr>
        </p15:guide>
        <p15:guide id="7" pos="7408" userDrawn="1">
          <p15:clr>
            <a:srgbClr val="A4A3A4"/>
          </p15:clr>
        </p15:guide>
        <p15:guide id="8" pos="2540" userDrawn="1">
          <p15:clr>
            <a:srgbClr val="A4A3A4"/>
          </p15:clr>
        </p15:guide>
        <p15:guide id="9" pos="2691" userDrawn="1">
          <p15:clr>
            <a:srgbClr val="A4A3A4"/>
          </p15:clr>
        </p15:guide>
        <p15:guide id="10" pos="3900" userDrawn="1">
          <p15:clr>
            <a:srgbClr val="A4A3A4"/>
          </p15:clr>
        </p15:guide>
        <p15:guide id="11" pos="4989" userDrawn="1">
          <p15:clr>
            <a:srgbClr val="A4A3A4"/>
          </p15:clr>
        </p15:guide>
        <p15:guide id="12" pos="51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38" autoAdjust="0"/>
    <p:restoredTop sz="85915" autoAdjust="0"/>
  </p:normalViewPr>
  <p:slideViewPr>
    <p:cSldViewPr showGuides="1">
      <p:cViewPr varScale="1">
        <p:scale>
          <a:sx n="94" d="100"/>
          <a:sy n="94" d="100"/>
        </p:scale>
        <p:origin x="1170" y="90"/>
      </p:cViewPr>
      <p:guideLst>
        <p:guide orient="horz" pos="3884"/>
        <p:guide orient="horz" pos="4178"/>
        <p:guide orient="horz" pos="890"/>
        <p:guide orient="horz" pos="187"/>
        <p:guide pos="3749"/>
        <p:guide pos="272"/>
        <p:guide pos="7408"/>
        <p:guide pos="2540"/>
        <p:guide pos="2691"/>
        <p:guide pos="3900"/>
        <p:guide pos="4989"/>
        <p:guide pos="51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08B81-6F93-4540-A02B-C78B70B7B557}" type="datetimeFigureOut">
              <a:rPr lang="en-US" smtClean="0"/>
              <a:t>6/1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B40A-5FE4-46E4-8C01-990DC147B4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56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09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5028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705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9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8066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8538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860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89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952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18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018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3856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725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3775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B40A-5FE4-46E4-8C01-990DC147B4C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55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1980000"/>
            <a:ext cx="12192000" cy="2998800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322263" indent="0">
              <a:buNone/>
              <a:defRPr sz="1200" baseline="0"/>
            </a:lvl1pPr>
          </a:lstStyle>
          <a:p>
            <a:r>
              <a:rPr lang="en-US" dirty="0" smtClean="0"/>
              <a:t>Click to add image</a:t>
            </a:r>
            <a:br>
              <a:rPr lang="en-US" dirty="0" smtClean="0"/>
            </a:br>
            <a:r>
              <a:rPr lang="en-US" dirty="0" smtClean="0"/>
              <a:t>(Rectangular images fit best, do not stretch image to fit)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1270000" y="295200"/>
            <a:ext cx="10485200" cy="1684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2000"/>
              </a:lnSpc>
              <a:defRPr sz="40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redit Suisse Headline font 40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dd title line 2</a:t>
            </a:r>
            <a:br>
              <a:rPr lang="en-US" dirty="0" smtClean="0"/>
            </a:br>
            <a:r>
              <a:rPr lang="en-US" dirty="0" smtClean="0"/>
              <a:t>Add subtitle</a:t>
            </a:r>
            <a:endParaRPr lang="en-US" dirty="0"/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55899" y="5869447"/>
            <a:ext cx="2726400" cy="483678"/>
          </a:xfrm>
          <a:prstGeom prst="rect">
            <a:avLst/>
          </a:prstGeom>
        </p:spPr>
      </p:pic>
      <p:sp>
        <p:nvSpPr>
          <p:cNvPr id="4" name="Legal Entity Date Classification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262400" y="5288400"/>
            <a:ext cx="3076800" cy="1087200"/>
          </a:xfrm>
        </p:spPr>
        <p:txBody>
          <a:bodyPr anchor="b"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smtClean="0"/>
              <a:t>LEGAL ENTITY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Month Day, Year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71434" y="3657600"/>
            <a:ext cx="7920567" cy="25056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9750" y="1412875"/>
            <a:ext cx="3600249" cy="19800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71434" y="1412875"/>
            <a:ext cx="3649133" cy="19800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2875"/>
            <a:ext cx="3600451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Three text columns with picture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067200" y="2386800"/>
            <a:ext cx="9124800" cy="3524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Section divider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Infographic Background"/>
          <p:cNvSpPr/>
          <p:nvPr userDrawn="1"/>
        </p:nvSpPr>
        <p:spPr bwMode="gray">
          <a:xfrm>
            <a:off x="4271434" y="1411201"/>
            <a:ext cx="7930167" cy="2916225"/>
          </a:xfrm>
          <a:prstGeom prst="rect">
            <a:avLst/>
          </a:prstGeom>
          <a:solidFill>
            <a:srgbClr val="E6E7E8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 dirty="0" smtClean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71434" y="4629600"/>
            <a:ext cx="7488567" cy="15336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1201"/>
            <a:ext cx="3600451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Two text columns with infographic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191251" y="5792400"/>
            <a:ext cx="5568949" cy="373450"/>
          </a:xfrm>
        </p:spPr>
        <p:txBody>
          <a:bodyPr anchor="b"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 bwMode="gray">
          <a:xfrm>
            <a:off x="6191251" y="2041200"/>
            <a:ext cx="5568949" cy="37512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91251" y="1598400"/>
            <a:ext cx="5568949" cy="4428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91251" y="1411200"/>
            <a:ext cx="5568949" cy="1836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 smtClean="0"/>
              <a:t>Chart </a:t>
            </a:r>
            <a:r>
              <a:rPr lang="pl-PL" dirty="0" smtClean="0"/>
              <a:t>t</a:t>
            </a:r>
            <a:r>
              <a:rPr lang="en-US" dirty="0" err="1" smtClean="0"/>
              <a:t>itle</a:t>
            </a:r>
            <a:endParaRPr lang="en-US" dirty="0" smtClean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hart with one text column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27200" y="5788800"/>
            <a:ext cx="11328400" cy="378000"/>
          </a:xfrm>
        </p:spPr>
        <p:txBody>
          <a:bodyPr anchor="b"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 bwMode="gray">
          <a:xfrm>
            <a:off x="427200" y="2041200"/>
            <a:ext cx="11328400" cy="37440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7200" y="1598400"/>
            <a:ext cx="11328400" cy="442800"/>
          </a:xfrm>
        </p:spPr>
        <p:txBody>
          <a:bodyPr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2875"/>
            <a:ext cx="11328400" cy="1836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 smtClean="0"/>
              <a:t>Chart </a:t>
            </a:r>
            <a:r>
              <a:rPr lang="pl-PL" dirty="0" smtClean="0"/>
              <a:t>t</a:t>
            </a:r>
            <a:r>
              <a:rPr lang="en-US" dirty="0" err="1" smtClean="0"/>
              <a:t>itle</a:t>
            </a:r>
            <a:r>
              <a:rPr lang="en-US" dirty="0" smtClean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hart only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Infographic Background"/>
          <p:cNvSpPr/>
          <p:nvPr userDrawn="1"/>
        </p:nvSpPr>
        <p:spPr bwMode="gray">
          <a:xfrm>
            <a:off x="431800" y="1412875"/>
            <a:ext cx="11760000" cy="4752975"/>
          </a:xfrm>
          <a:prstGeom prst="rect">
            <a:avLst/>
          </a:prstGeom>
          <a:solidFill>
            <a:srgbClr val="E6E7E8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fographic only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Print Screen Background"/>
          <p:cNvSpPr/>
          <p:nvPr userDrawn="1"/>
        </p:nvSpPr>
        <p:spPr bwMode="gray">
          <a:xfrm>
            <a:off x="431800" y="1412875"/>
            <a:ext cx="11760200" cy="4752975"/>
          </a:xfrm>
          <a:prstGeom prst="rect">
            <a:avLst/>
          </a:prstGeom>
          <a:solidFill>
            <a:srgbClr val="E6E7E8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 dirty="0" smtClean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68978" y="1530000"/>
            <a:ext cx="7488767" cy="3758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dirty="0" smtClean="0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0" y="1412875"/>
            <a:ext cx="3600451" cy="4752975"/>
          </a:xfrm>
        </p:spPr>
        <p:txBody>
          <a:bodyPr lIns="108000" tIns="108000" bIns="108000"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Print screen with description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 bwMode="gray"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 bwMode="gray"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59750" y="4586400"/>
            <a:ext cx="3600249" cy="1292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1434" y="4586400"/>
            <a:ext cx="3649133" cy="1292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ontact slide 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 bwMode="gray"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 bwMode="gray"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3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 bwMode="gray"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 bwMode="gray"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200" y="1412875"/>
            <a:ext cx="11328400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One text column without picture 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 bwMode="gray">
          <a:xfrm>
            <a:off x="427200" y="1412875"/>
            <a:ext cx="11328400" cy="4752975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dirty="0" smtClean="0"/>
              <a:t>Click icon to add media clip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Media clip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017600" y="46908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92000" y="4690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7017600" y="38700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92000" y="3870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017600" y="30528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192000" y="3049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017600" y="2232000"/>
            <a:ext cx="4742400" cy="446400"/>
          </a:xfrm>
        </p:spPr>
        <p:txBody>
          <a:bodyPr tIns="0"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92000" y="2232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017600" y="14112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92000" y="1411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276800" y="46908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27200" y="4690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276800" y="38700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27200" y="3870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76800" y="30528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27200" y="3049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276800" y="22320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</a:t>
            </a:r>
            <a:endParaRPr lang="en-US" dirty="0"/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7200" y="2232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276800" y="1411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2875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Agenda layout option 1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017600" y="4727525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017600" y="42804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92000" y="4276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017600" y="3280876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017600" y="28332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92000" y="28296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7017600" y="1858876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017600" y="14112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92000" y="1411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276800" y="4727525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276800" y="42804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27200" y="4276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276800" y="3280876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76800" y="2833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7200" y="28296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276800" y="1858876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276800" y="1411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2875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Agenda layout option 2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412874"/>
            <a:ext cx="5952067" cy="2916000"/>
          </a:xfrm>
        </p:spPr>
        <p:txBody>
          <a:bodyPr/>
          <a:lstStyle>
            <a:lvl1pPr marL="304800" indent="0">
              <a:buNone/>
              <a:defRPr sz="12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191251" y="1411200"/>
            <a:ext cx="5568949" cy="47556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One text column with picture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192000" y="1411201"/>
            <a:ext cx="5544000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Two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91251" y="1412875"/>
            <a:ext cx="6000749" cy="19152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191251" y="3628800"/>
            <a:ext cx="5568000" cy="25380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Two text columns with picture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9750" y="1412875"/>
            <a:ext cx="3595449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71434" y="1412875"/>
            <a:ext cx="3649133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7200" y="1412875"/>
            <a:ext cx="3600451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Three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</a:t>
            </a:r>
            <a:r>
              <a:rPr lang="pl-PL" dirty="0" smtClean="0"/>
              <a:t>a</a:t>
            </a:r>
            <a:r>
              <a:rPr lang="en-US" dirty="0" smtClean="0"/>
              <a:t>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 bwMode="gray"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 bwMode="gray"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9302" y="6451201"/>
            <a:ext cx="1057044" cy="187525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 bwMode="gray">
          <a:xfrm>
            <a:off x="427200" y="6379200"/>
            <a:ext cx="11328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 bwMode="gray">
          <a:xfrm>
            <a:off x="427200" y="1412875"/>
            <a:ext cx="11328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  <a:p>
            <a:pPr lvl="2"/>
            <a:r>
              <a:rPr lang="en-US" dirty="0" smtClean="0"/>
              <a:t>Text level 3</a:t>
            </a:r>
          </a:p>
          <a:p>
            <a:pPr lvl="3"/>
            <a:r>
              <a:rPr lang="en-US" dirty="0" smtClean="0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27200" y="295200"/>
            <a:ext cx="11328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69" r:id="rId17"/>
    <p:sldLayoutId id="2147483671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82000"/>
        </a:lnSpc>
        <a:spcBef>
          <a:spcPct val="0"/>
        </a:spcBef>
        <a:buNone/>
        <a:defRPr sz="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spcBef>
          <a:spcPts val="0"/>
        </a:spcBef>
        <a:buFont typeface="Credit Suisse Type Light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68288" algn="l" defTabSz="914400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69875" algn="l" defTabSz="914400" rtl="0" eaLnBrk="1" latinLnBrk="0" hangingPunct="1">
        <a:spcBef>
          <a:spcPts val="0"/>
        </a:spcBef>
        <a:buFont typeface="Credit Suisse Type Light" pitchFamily="34" charset="0"/>
        <a:buChar char="–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8288" algn="l" defTabSz="914400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6921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Providing </a:t>
            </a:r>
            <a:r>
              <a:rPr lang="en-GB" dirty="0"/>
              <a:t>best service to </a:t>
            </a:r>
            <a:r>
              <a:rPr lang="en-GB" dirty="0" smtClean="0"/>
              <a:t>customer</a:t>
            </a:r>
            <a:r>
              <a:rPr lang="en-GB" dirty="0"/>
              <a:t> – so that informed decision can be taken</a:t>
            </a:r>
            <a:r>
              <a:rPr lang="en-GB" dirty="0" smtClean="0"/>
              <a:t>, </a:t>
            </a:r>
            <a:r>
              <a:rPr lang="en-GB" dirty="0"/>
              <a:t>while having a great time!</a:t>
            </a:r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7055" y="1412875"/>
            <a:ext cx="3649133" cy="4752975"/>
          </a:xfrm>
        </p:spPr>
        <p:txBody>
          <a:bodyPr/>
          <a:lstStyle/>
          <a:p>
            <a:r>
              <a:rPr lang="en-GB" dirty="0"/>
              <a:t>Tools: </a:t>
            </a:r>
            <a:r>
              <a:rPr lang="en-GB" dirty="0" smtClean="0"/>
              <a:t>How </a:t>
            </a:r>
            <a:r>
              <a:rPr lang="en-GB" dirty="0"/>
              <a:t>to </a:t>
            </a:r>
            <a:r>
              <a:rPr lang="en-GB" dirty="0" smtClean="0"/>
              <a:t>visualize the insights?</a:t>
            </a:r>
            <a:endParaRPr lang="en-GB" dirty="0"/>
          </a:p>
          <a:p>
            <a:pPr lvl="1"/>
            <a:r>
              <a:rPr lang="en-GB" dirty="0"/>
              <a:t>Stability</a:t>
            </a:r>
          </a:p>
          <a:p>
            <a:pPr lvl="1"/>
            <a:r>
              <a:rPr lang="en-GB" dirty="0"/>
              <a:t>Sustainability</a:t>
            </a:r>
          </a:p>
          <a:p>
            <a:pPr lvl="1"/>
            <a:r>
              <a:rPr lang="en-GB" dirty="0"/>
              <a:t>Ease of Usage</a:t>
            </a:r>
          </a:p>
          <a:p>
            <a:pPr lvl="1"/>
            <a:r>
              <a:rPr lang="en-GB" dirty="0"/>
              <a:t>Speed</a:t>
            </a:r>
          </a:p>
          <a:p>
            <a:pPr lvl="1"/>
            <a:r>
              <a:rPr lang="en-GB" dirty="0"/>
              <a:t>…</a:t>
            </a:r>
          </a:p>
          <a:p>
            <a:pPr lvl="1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237" y="1412875"/>
            <a:ext cx="3600451" cy="4752975"/>
          </a:xfrm>
        </p:spPr>
        <p:txBody>
          <a:bodyPr/>
          <a:lstStyle/>
          <a:p>
            <a:r>
              <a:rPr lang="en-GB" dirty="0" smtClean="0"/>
              <a:t>Graduated in Business Mathematics from university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runching Numbers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0848"/>
            <a:ext cx="3564348" cy="2376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621" y="2925208"/>
            <a:ext cx="3564000" cy="2376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218" y="3789304"/>
            <a:ext cx="3560513" cy="23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012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DevOps Working Grou</a:t>
            </a:r>
            <a:r>
              <a:rPr lang="en-GB" dirty="0"/>
              <a:t>p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412776"/>
            <a:ext cx="12192000" cy="47525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96" y="1412776"/>
            <a:ext cx="12188104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422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/>
              <a:t>Technology: cool toys!</a:t>
            </a:r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DevOps Working Group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49" y="2060848"/>
            <a:ext cx="3564000" cy="2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251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/>
              <a:t>Process: it took us years to understand, design and build</a:t>
            </a:r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/>
              <a:t>Technology: cool toys!</a:t>
            </a:r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DevOps Working Group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49" y="2060848"/>
            <a:ext cx="3564000" cy="23785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5440"/>
            <a:ext cx="3564000" cy="237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6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474" y="3788012"/>
            <a:ext cx="3564000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People</a:t>
            </a:r>
            <a:r>
              <a:rPr lang="en-GB" dirty="0"/>
              <a:t>: it’s hard work changing minds, changing cultur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/>
              <a:t>Process: it took us years to understand, design and build</a:t>
            </a:r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/>
              <a:t>Technology: cool toys!</a:t>
            </a:r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DevOps Working Group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49" y="2060848"/>
            <a:ext cx="3564000" cy="23785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5440"/>
            <a:ext cx="3564000" cy="237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7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, Politics and </a:t>
            </a:r>
            <a:r>
              <a:rPr lang="en-GB" dirty="0" smtClean="0"/>
              <a:t>Protection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328" y="1395184"/>
            <a:ext cx="5904656" cy="4752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35912" y="1391075"/>
            <a:ext cx="5986376" cy="47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37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ing what you want to Measure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2121"/>
          <a:stretch/>
        </p:blipFill>
        <p:spPr>
          <a:xfrm>
            <a:off x="0" y="1412776"/>
            <a:ext cx="12192000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06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6689" y="0"/>
            <a:ext cx="12313369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ing how to Measure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</p:spTree>
    <p:extLst>
      <p:ext uri="{BB962C8B-B14F-4D97-AF65-F5344CB8AC3E}">
        <p14:creationId xmlns:p14="http://schemas.microsoft.com/office/powerpoint/2010/main" val="2825530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DevOps Satisfaction Survey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People are Peop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8008" y="1412875"/>
            <a:ext cx="5976664" cy="47529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328" y="1412776"/>
            <a:ext cx="5904656" cy="473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558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87" y="2060848"/>
            <a:ext cx="3577348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5436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rough vision and engagement a central toolchain got developed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entral DevOps Toolchain for Credit Suisse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</p:spTree>
    <p:extLst>
      <p:ext uri="{BB962C8B-B14F-4D97-AF65-F5344CB8AC3E}">
        <p14:creationId xmlns:p14="http://schemas.microsoft.com/office/powerpoint/2010/main" val="307135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5272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rgbClr val="007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2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chemeClr val="bg1"/>
              </a:solidFill>
              <a:latin typeface="Credit Suisse Headline"/>
              <a:ea typeface="+mj-ea"/>
              <a:cs typeface="+mj-cs"/>
              <a:sym typeface="Credit Suisse Headline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 smtClean="0"/>
              <a:t>DevOps Beyond the Tool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>
                <a:solidFill>
                  <a:srgbClr val="A8A8A7"/>
                </a:solidFill>
              </a:rPr>
              <a:t>DevOps Enterprise Summit London</a:t>
            </a:r>
            <a:endParaRPr lang="en-US" dirty="0">
              <a:solidFill>
                <a:srgbClr val="A8A8A7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CH" dirty="0" err="1" smtClean="0"/>
              <a:t>Credit</a:t>
            </a:r>
            <a:r>
              <a:rPr lang="de-CH" dirty="0" smtClean="0"/>
              <a:t> Suisse AG</a:t>
            </a:r>
          </a:p>
          <a:p>
            <a:r>
              <a:rPr lang="de-CH" dirty="0" smtClean="0"/>
              <a:t>IT Strategy &amp; </a:t>
            </a:r>
            <a:r>
              <a:rPr lang="de-CH" dirty="0" err="1" smtClean="0"/>
              <a:t>Architecture</a:t>
            </a:r>
            <a:endParaRPr lang="de-CH" dirty="0" smtClean="0"/>
          </a:p>
          <a:p>
            <a:r>
              <a:rPr lang="de-CH" dirty="0" smtClean="0"/>
              <a:t>Andrea Hausmann</a:t>
            </a:r>
          </a:p>
          <a:p>
            <a:r>
              <a:rPr lang="de-CH" dirty="0" smtClean="0"/>
              <a:t>Duncan Lawie</a:t>
            </a:r>
          </a:p>
          <a:p>
            <a:endParaRPr lang="de-CH" dirty="0"/>
          </a:p>
          <a:p>
            <a:r>
              <a:rPr lang="de-CH" dirty="0" smtClean="0"/>
              <a:t>June 2020</a:t>
            </a:r>
            <a:endParaRPr lang="en-US" dirty="0"/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02"/>
          <a:stretch/>
        </p:blipFill>
        <p:spPr/>
      </p:pic>
    </p:spTree>
    <p:extLst>
      <p:ext uri="{BB962C8B-B14F-4D97-AF65-F5344CB8AC3E}">
        <p14:creationId xmlns:p14="http://schemas.microsoft.com/office/powerpoint/2010/main" val="145176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87" y="2060848"/>
            <a:ext cx="3577348" cy="2376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842" y="2923669"/>
            <a:ext cx="3564317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Competing solutions arise </a:t>
            </a:r>
          </a:p>
          <a:p>
            <a:r>
              <a:rPr lang="en-GB" dirty="0" smtClean="0"/>
              <a:t>Ever lasting discussions about different options, tools, usage, extensions,.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5436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rough vision and engagement a central toolchain got developed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entral DevOps Toolchain for Credit Suisse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</p:spTree>
    <p:extLst>
      <p:ext uri="{BB962C8B-B14F-4D97-AF65-F5344CB8AC3E}">
        <p14:creationId xmlns:p14="http://schemas.microsoft.com/office/powerpoint/2010/main" val="231828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508" y="3786175"/>
            <a:ext cx="3559932" cy="2376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87" y="2060848"/>
            <a:ext cx="3577348" cy="2376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842" y="2923669"/>
            <a:ext cx="3564317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Together one solution through common understanding from all 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Competing solutions arise </a:t>
            </a:r>
          </a:p>
          <a:p>
            <a:r>
              <a:rPr lang="en-GB" dirty="0" smtClean="0"/>
              <a:t>Ever lasting discussions about different options, tools, usage, extensions,.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5436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rough vision and engagement a central toolchain got developed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entral DevOps Toolchain for Credit Suisse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</p:spTree>
    <p:extLst>
      <p:ext uri="{BB962C8B-B14F-4D97-AF65-F5344CB8AC3E}">
        <p14:creationId xmlns:p14="http://schemas.microsoft.com/office/powerpoint/2010/main" val="141855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What keeps the individual interested? 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vidual</a:t>
            </a:r>
            <a:r>
              <a:rPr lang="en-US" dirty="0" smtClean="0"/>
              <a:t>, </a:t>
            </a:r>
            <a:r>
              <a:rPr lang="en-US" dirty="0"/>
              <a:t>Team and </a:t>
            </a:r>
            <a:r>
              <a:rPr lang="en-US" dirty="0" smtClean="0"/>
              <a:t>Customer</a:t>
            </a:r>
            <a:r>
              <a:rPr lang="en-GB" dirty="0" smtClean="0"/>
              <a:t> Goals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Balance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25" y="2060848"/>
            <a:ext cx="3564000" cy="237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5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What keeps the team in synch?</a:t>
            </a:r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What keeps the individual interested? 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vidual</a:t>
            </a:r>
            <a:r>
              <a:rPr lang="en-US" dirty="0" smtClean="0"/>
              <a:t>, </a:t>
            </a:r>
            <a:r>
              <a:rPr lang="en-US" dirty="0"/>
              <a:t>Team and </a:t>
            </a:r>
            <a:r>
              <a:rPr lang="en-US" dirty="0" smtClean="0"/>
              <a:t>Customer</a:t>
            </a:r>
            <a:r>
              <a:rPr lang="en-GB" dirty="0" smtClean="0"/>
              <a:t> Goals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Balance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25" y="2060848"/>
            <a:ext cx="3564000" cy="237538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4797"/>
            <a:ext cx="3564000" cy="23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253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What does the business need?</a:t>
            </a:r>
            <a:endParaRPr lang="en-GB" dirty="0"/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What keeps the team in synch?</a:t>
            </a:r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What keeps the individual interested? 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vidual, </a:t>
            </a:r>
            <a:r>
              <a:rPr lang="en-US" dirty="0"/>
              <a:t>Team and </a:t>
            </a:r>
            <a:r>
              <a:rPr lang="en-US" dirty="0" smtClean="0"/>
              <a:t>Customer</a:t>
            </a:r>
            <a:r>
              <a:rPr lang="en-GB" dirty="0" smtClean="0"/>
              <a:t> Goals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Balance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25" y="2060848"/>
            <a:ext cx="3564000" cy="237538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4797"/>
            <a:ext cx="3564000" cy="2376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474" y="3789362"/>
            <a:ext cx="3564000" cy="237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78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16" y="2060848"/>
            <a:ext cx="3564000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e Engineers numbers must increase – generating the actual value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ire Engineers – but not only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Balance </a:t>
            </a:r>
          </a:p>
        </p:txBody>
      </p:sp>
    </p:spTree>
    <p:extLst>
      <p:ext uri="{BB962C8B-B14F-4D97-AF65-F5344CB8AC3E}">
        <p14:creationId xmlns:p14="http://schemas.microsoft.com/office/powerpoint/2010/main" val="136836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16" y="2060848"/>
            <a:ext cx="3564000" cy="2376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925208"/>
            <a:ext cx="3562208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Keep diverse ideas and </a:t>
            </a:r>
            <a:r>
              <a:rPr lang="en-GB" dirty="0" err="1" smtClean="0"/>
              <a:t>mindsets</a:t>
            </a:r>
            <a:r>
              <a:rPr lang="en-GB" dirty="0" smtClean="0"/>
              <a:t> at work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e Engineers numbers must increase – generating the actual value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ire Engineers – but not only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Balance </a:t>
            </a:r>
          </a:p>
        </p:txBody>
      </p:sp>
    </p:spTree>
    <p:extLst>
      <p:ext uri="{BB962C8B-B14F-4D97-AF65-F5344CB8AC3E}">
        <p14:creationId xmlns:p14="http://schemas.microsoft.com/office/powerpoint/2010/main" val="208011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16" y="2060848"/>
            <a:ext cx="3564000" cy="2376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925208"/>
            <a:ext cx="3562208" cy="2376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916" y="3786175"/>
            <a:ext cx="3564000" cy="2376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What is the ultimate goal?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 smtClean="0"/>
              <a:t>Keep diverse ideas and </a:t>
            </a:r>
            <a:r>
              <a:rPr lang="en-GB" dirty="0" err="1" smtClean="0"/>
              <a:t>mindsets</a:t>
            </a:r>
            <a:r>
              <a:rPr lang="en-GB" dirty="0" smtClean="0"/>
              <a:t> at work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r>
              <a:rPr lang="en-GB" dirty="0" smtClean="0"/>
              <a:t>The Engineers numbers must increase – generating the actual value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ire Engineers – but not only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Balance </a:t>
            </a:r>
          </a:p>
        </p:txBody>
      </p:sp>
    </p:spTree>
    <p:extLst>
      <p:ext uri="{BB962C8B-B14F-4D97-AF65-F5344CB8AC3E}">
        <p14:creationId xmlns:p14="http://schemas.microsoft.com/office/powerpoint/2010/main" val="347856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680" y="-315416"/>
            <a:ext cx="12216680" cy="7665093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6023992" y="4220524"/>
            <a:ext cx="5731208" cy="194365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2000" y="1411201"/>
            <a:ext cx="5544000" cy="4752975"/>
          </a:xfrm>
        </p:spPr>
        <p:txBody>
          <a:bodyPr/>
          <a:lstStyle/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endParaRPr lang="en-GB" sz="1800" dirty="0"/>
          </a:p>
          <a:p>
            <a:endParaRPr lang="en-GB" sz="1800" dirty="0" smtClean="0"/>
          </a:p>
          <a:p>
            <a:endParaRPr lang="en-GB" sz="1800" dirty="0"/>
          </a:p>
          <a:p>
            <a:pPr marL="0" indent="0">
              <a:buNone/>
            </a:pPr>
            <a:r>
              <a:rPr lang="en-GB" sz="1800" dirty="0" smtClean="0"/>
              <a:t>    I’m </a:t>
            </a:r>
            <a:r>
              <a:rPr lang="en-GB" sz="1800" dirty="0"/>
              <a:t>really impressed with the way you guys have </a:t>
            </a:r>
            <a:r>
              <a:rPr lang="en-GB" sz="1800" dirty="0" smtClean="0"/>
              <a:t>replied </a:t>
            </a:r>
            <a:r>
              <a:rPr lang="en-GB" sz="1800" dirty="0"/>
              <a:t>to the survey </a:t>
            </a:r>
            <a:r>
              <a:rPr lang="en-GB" sz="1800" dirty="0" smtClean="0"/>
              <a:t>submissions</a:t>
            </a:r>
          </a:p>
          <a:p>
            <a:pPr marL="0" indent="0">
              <a:buNone/>
            </a:pPr>
            <a:r>
              <a:rPr lang="en-GB" sz="1800" dirty="0" smtClean="0"/>
              <a:t>     -- Finnbar Cunningham</a:t>
            </a:r>
          </a:p>
          <a:p>
            <a:pPr marL="0" indent="0">
              <a:buNone/>
            </a:pPr>
            <a:r>
              <a:rPr lang="en-GB" sz="1800" dirty="0"/>
              <a:t>	</a:t>
            </a:r>
            <a:r>
              <a:rPr lang="en-GB" sz="1800" dirty="0" smtClean="0"/>
              <a:t>Head of Grid Computing</a:t>
            </a:r>
            <a:endParaRPr lang="en-US" sz="1800" dirty="0" smtClean="0"/>
          </a:p>
          <a:p>
            <a:endParaRPr lang="en-US" sz="1800" dirty="0"/>
          </a:p>
          <a:p>
            <a:endParaRPr lang="en-US" sz="1800" dirty="0" smtClean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    The </a:t>
            </a:r>
            <a:r>
              <a:rPr lang="en-US" sz="1800" dirty="0"/>
              <a:t>DevOps Program has served to ingrain a common set of goals across Credit Suisse </a:t>
            </a:r>
            <a:r>
              <a:rPr lang="en-US" sz="1800" dirty="0" smtClean="0"/>
              <a:t>IT, while igniting </a:t>
            </a:r>
            <a:r>
              <a:rPr lang="en-US" sz="1800" dirty="0"/>
              <a:t>a transformational shift in our </a:t>
            </a:r>
            <a:r>
              <a:rPr lang="en-US" sz="1800" dirty="0" err="1"/>
              <a:t>organisational</a:t>
            </a:r>
            <a:r>
              <a:rPr lang="en-US" sz="1800" dirty="0"/>
              <a:t> culture </a:t>
            </a:r>
            <a:r>
              <a:rPr lang="en-US" sz="1800" dirty="0" smtClean="0"/>
              <a:t>and mindset</a:t>
            </a:r>
          </a:p>
          <a:p>
            <a:pPr marL="0" indent="0">
              <a:buNone/>
            </a:pPr>
            <a:r>
              <a:rPr lang="en-US" sz="1800" dirty="0"/>
              <a:t> </a:t>
            </a:r>
            <a:r>
              <a:rPr lang="en-US" sz="1800" dirty="0" smtClean="0"/>
              <a:t>    -- Laura Barrowman</a:t>
            </a:r>
          </a:p>
          <a:p>
            <a:pPr marL="0" indent="0">
              <a:buNone/>
            </a:pPr>
            <a:r>
              <a:rPr lang="en-US" sz="1800" dirty="0"/>
              <a:t>	</a:t>
            </a:r>
            <a:r>
              <a:rPr lang="en-US" sz="1800" dirty="0" smtClean="0"/>
              <a:t>Group CIO</a:t>
            </a:r>
            <a:endParaRPr lang="en-GB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1800" y="1411201"/>
            <a:ext cx="5520267" cy="4752975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    </a:t>
            </a:r>
            <a:r>
              <a:rPr lang="en-US" sz="1800" dirty="0">
                <a:solidFill>
                  <a:schemeClr val="bg1"/>
                </a:solidFill>
              </a:rPr>
              <a:t>Andrea has been closely integrated in the Credit Suisse DevOps initiative and has helped drive this transformation and to achieve meaningful results; especially in Zurich and on cultural efforts    </a:t>
            </a:r>
            <a:endParaRPr lang="en-US" sz="18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     -- </a:t>
            </a:r>
            <a:r>
              <a:rPr lang="en-US" sz="1800" dirty="0">
                <a:solidFill>
                  <a:schemeClr val="bg1"/>
                </a:solidFill>
              </a:rPr>
              <a:t>Stephan Hug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</a:rPr>
              <a:t>	</a:t>
            </a:r>
            <a:r>
              <a:rPr lang="en-US" sz="1800" dirty="0" smtClean="0">
                <a:solidFill>
                  <a:schemeClr val="bg1"/>
                </a:solidFill>
              </a:rPr>
              <a:t>Head of IT Strategy &amp; Architecture</a:t>
            </a:r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    Thanks </a:t>
            </a:r>
            <a:r>
              <a:rPr lang="en-US" sz="1800" dirty="0">
                <a:solidFill>
                  <a:schemeClr val="bg1"/>
                </a:solidFill>
              </a:rPr>
              <a:t>for your excellent </a:t>
            </a:r>
            <a:r>
              <a:rPr lang="en-US" sz="1800" dirty="0" smtClean="0">
                <a:solidFill>
                  <a:schemeClr val="bg1"/>
                </a:solidFill>
              </a:rPr>
              <a:t>presentation, Duncan. </a:t>
            </a:r>
            <a:r>
              <a:rPr lang="en-US" sz="1800" dirty="0">
                <a:solidFill>
                  <a:schemeClr val="bg1"/>
                </a:solidFill>
              </a:rPr>
              <a:t>Possibly the clearest and best articulated </a:t>
            </a:r>
            <a:r>
              <a:rPr lang="en-US" sz="1800" dirty="0" smtClean="0">
                <a:solidFill>
                  <a:schemeClr val="bg1"/>
                </a:solidFill>
              </a:rPr>
              <a:t>I’ve </a:t>
            </a:r>
            <a:r>
              <a:rPr lang="en-US" sz="1800" dirty="0">
                <a:solidFill>
                  <a:schemeClr val="bg1"/>
                </a:solidFill>
              </a:rPr>
              <a:t>heard in the last year or two on this </a:t>
            </a:r>
            <a:r>
              <a:rPr lang="en-US" sz="1800" dirty="0" smtClean="0">
                <a:solidFill>
                  <a:schemeClr val="bg1"/>
                </a:solidFill>
              </a:rPr>
              <a:t>topic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     -- </a:t>
            </a:r>
            <a:r>
              <a:rPr lang="en-US" sz="1800" dirty="0">
                <a:solidFill>
                  <a:schemeClr val="bg1"/>
                </a:solidFill>
              </a:rPr>
              <a:t>John </a:t>
            </a:r>
            <a:r>
              <a:rPr lang="en-US" sz="1800" dirty="0" smtClean="0">
                <a:solidFill>
                  <a:schemeClr val="bg1"/>
                </a:solidFill>
              </a:rPr>
              <a:t>Burns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</a:rPr>
              <a:t>	</a:t>
            </a:r>
            <a:r>
              <a:rPr lang="en-US" sz="1800" dirty="0" smtClean="0">
                <a:solidFill>
                  <a:schemeClr val="bg1"/>
                </a:solidFill>
              </a:rPr>
              <a:t>Head </a:t>
            </a:r>
            <a:r>
              <a:rPr lang="en-US" sz="1800" dirty="0">
                <a:solidFill>
                  <a:schemeClr val="bg1"/>
                </a:solidFill>
              </a:rPr>
              <a:t>of IT Global Site Strategy &amp; Delivery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Impact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rgbClr val="A8A8A7"/>
                </a:solidFill>
              </a:rPr>
              <a:t>Balan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31800" y="1101840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“</a:t>
            </a:r>
            <a:endParaRPr lang="en-GB" sz="40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6960096" y="5052920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”</a:t>
            </a:r>
            <a:endParaRPr lang="en-GB" sz="40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431800" y="3573016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“</a:t>
            </a:r>
            <a:endParaRPr lang="en-GB" sz="40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6192000" y="2204864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“</a:t>
            </a:r>
            <a:endParaRPr lang="en-GB" sz="4000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6192000" y="4141529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smtClean="0"/>
              <a:t>“</a:t>
            </a:r>
            <a:endParaRPr lang="en-GB" sz="40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2063635" y="2053297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”</a:t>
            </a:r>
            <a:endParaRPr lang="en-GB" sz="40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2207651" y="4220524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”</a:t>
            </a:r>
            <a:endParaRPr lang="en-GB" sz="40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8544355" y="2591905"/>
            <a:ext cx="136806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00" dirty="0" smtClean="0"/>
              <a:t>”</a:t>
            </a:r>
            <a:endParaRPr lang="en-GB" sz="4000" dirty="0" smtClean="0"/>
          </a:p>
        </p:txBody>
      </p:sp>
    </p:spTree>
    <p:extLst>
      <p:ext uri="{BB962C8B-B14F-4D97-AF65-F5344CB8AC3E}">
        <p14:creationId xmlns:p14="http://schemas.microsoft.com/office/powerpoint/2010/main" val="10113705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065" y="1412776"/>
            <a:ext cx="8128934" cy="475307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re Mountains to Climb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The journey continues</a:t>
            </a:r>
            <a:endParaRPr lang="en-GB" dirty="0">
              <a:solidFill>
                <a:srgbClr val="A8A8A7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2536" y="1412776"/>
            <a:ext cx="3359944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Font typeface="Wingdings" panose="05000000000000000000" pitchFamily="2" charset="2"/>
              <a:buChar char="§"/>
            </a:pPr>
            <a:r>
              <a:rPr lang="en-GB" dirty="0" smtClean="0"/>
              <a:t>How do you keep focus on core engineering activities over context?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endParaRPr lang="en-GB" dirty="0"/>
          </a:p>
          <a:p>
            <a:pPr marL="180000" indent="-180000">
              <a:buFont typeface="Wingdings" panose="05000000000000000000" pitchFamily="2" charset="2"/>
              <a:buChar char="§"/>
            </a:pPr>
            <a:endParaRPr lang="en-GB" dirty="0" smtClean="0"/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en-GB" dirty="0" smtClean="0"/>
              <a:t>How do you talk about happiness in your organisation?</a:t>
            </a:r>
          </a:p>
          <a:p>
            <a:pPr marL="180000" indent="-180000">
              <a:buFont typeface="Wingdings" panose="05000000000000000000" pitchFamily="2" charset="2"/>
              <a:buChar char="§"/>
            </a:pPr>
            <a:endParaRPr lang="en-GB" dirty="0" smtClean="0"/>
          </a:p>
          <a:p>
            <a:pPr marL="180000" indent="-180000">
              <a:buFont typeface="Wingdings" panose="05000000000000000000" pitchFamily="2" charset="2"/>
              <a:buChar char="§"/>
            </a:pPr>
            <a:endParaRPr lang="en-GB" dirty="0"/>
          </a:p>
          <a:p>
            <a:pPr marL="180000" indent="-180000">
              <a:buFont typeface="Wingdings" panose="05000000000000000000" pitchFamily="2" charset="2"/>
              <a:buChar char="§"/>
            </a:pPr>
            <a:r>
              <a:rPr lang="en-GB" dirty="0" smtClean="0"/>
              <a:t>How </a:t>
            </a:r>
            <a:r>
              <a:rPr lang="en-GB" dirty="0" smtClean="0"/>
              <a:t>do you </a:t>
            </a:r>
            <a:r>
              <a:rPr lang="en-GB" dirty="0" smtClean="0"/>
              <a:t>test whether the message is reaching through the whole company?</a:t>
            </a:r>
          </a:p>
        </p:txBody>
      </p:sp>
    </p:spTree>
    <p:extLst>
      <p:ext uri="{BB962C8B-B14F-4D97-AF65-F5344CB8AC3E}">
        <p14:creationId xmlns:p14="http://schemas.microsoft.com/office/powerpoint/2010/main" val="214557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7200" y="1412875"/>
            <a:ext cx="3868600" cy="4752975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Key </a:t>
            </a:r>
            <a:r>
              <a:rPr lang="en-US" b="1" dirty="0"/>
              <a:t>figures (as of end-2019)</a:t>
            </a:r>
          </a:p>
          <a:p>
            <a:r>
              <a:rPr lang="en-US" dirty="0" smtClean="0"/>
              <a:t>47860 employees</a:t>
            </a:r>
            <a:endParaRPr lang="en-US" dirty="0"/>
          </a:p>
          <a:p>
            <a:r>
              <a:rPr lang="en-US" dirty="0" smtClean="0"/>
              <a:t>3540 relationship </a:t>
            </a:r>
            <a:r>
              <a:rPr lang="en-US" dirty="0"/>
              <a:t>managers globally</a:t>
            </a:r>
          </a:p>
          <a:p>
            <a:r>
              <a:rPr lang="en-US" dirty="0" smtClean="0"/>
              <a:t>1507 </a:t>
            </a:r>
            <a:r>
              <a:rPr lang="en-US" dirty="0" err="1" smtClean="0"/>
              <a:t>bn</a:t>
            </a:r>
            <a:r>
              <a:rPr lang="en-US" dirty="0" smtClean="0"/>
              <a:t> CHF Assets under Managemen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We serve our clients through three regionally focused divisions: </a:t>
            </a:r>
            <a:endParaRPr lang="en-US" dirty="0" smtClean="0"/>
          </a:p>
          <a:p>
            <a:r>
              <a:rPr lang="en-US" dirty="0" smtClean="0"/>
              <a:t>Swiss </a:t>
            </a:r>
            <a:r>
              <a:rPr lang="en-US" dirty="0"/>
              <a:t>Universal </a:t>
            </a:r>
            <a:r>
              <a:rPr lang="en-US" dirty="0" smtClean="0"/>
              <a:t>Bank</a:t>
            </a:r>
          </a:p>
          <a:p>
            <a:r>
              <a:rPr lang="en-US" dirty="0" smtClean="0"/>
              <a:t>International </a:t>
            </a:r>
            <a:r>
              <a:rPr lang="en-US" dirty="0"/>
              <a:t>Wealth </a:t>
            </a:r>
            <a:r>
              <a:rPr lang="en-US" dirty="0" smtClean="0"/>
              <a:t>Management</a:t>
            </a:r>
          </a:p>
          <a:p>
            <a:r>
              <a:rPr lang="en-US" dirty="0" smtClean="0"/>
              <a:t>Asia Pacific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These </a:t>
            </a:r>
            <a:r>
              <a:rPr lang="en-US" dirty="0"/>
              <a:t>regional businesses are supported by two other divisions specializing in investment banking </a:t>
            </a:r>
            <a:r>
              <a:rPr lang="en-US" dirty="0" smtClean="0"/>
              <a:t>capabilities:</a:t>
            </a:r>
          </a:p>
          <a:p>
            <a:r>
              <a:rPr lang="en-US" dirty="0" smtClean="0"/>
              <a:t>Global Markets</a:t>
            </a:r>
          </a:p>
          <a:p>
            <a:r>
              <a:rPr lang="en-US" dirty="0" smtClean="0"/>
              <a:t>Investment </a:t>
            </a:r>
            <a:r>
              <a:rPr lang="en-US" dirty="0"/>
              <a:t>Banking &amp; Capital </a:t>
            </a:r>
            <a:r>
              <a:rPr lang="en-US" dirty="0" smtClean="0"/>
              <a:t>Markets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redit Suisse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Founded 1856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800" y="1412776"/>
            <a:ext cx="7920880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638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eet the Speakers</a:t>
            </a:r>
            <a:r>
              <a:rPr lang="en-GB" dirty="0"/>
              <a:t/>
            </a:r>
            <a:br>
              <a:rPr lang="en-GB" dirty="0"/>
            </a:br>
            <a:r>
              <a:rPr lang="en-GB" dirty="0" smtClean="0">
                <a:solidFill>
                  <a:srgbClr val="A8A8A7"/>
                </a:solidFill>
              </a:rPr>
              <a:t>Andrea &amp; Dunca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1412776"/>
            <a:ext cx="2286249" cy="3429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1412090"/>
            <a:ext cx="2286000" cy="342862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071664" y="2249238"/>
            <a:ext cx="2430016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 smtClean="0"/>
              <a:t>Andrea Hausmann</a:t>
            </a:r>
            <a:endParaRPr lang="de-CH" sz="1200" b="1" dirty="0" smtClean="0"/>
          </a:p>
          <a:p>
            <a:r>
              <a:rPr lang="de-CH" sz="1600" dirty="0" smtClean="0"/>
              <a:t>Head </a:t>
            </a:r>
            <a:r>
              <a:rPr lang="de-CH" sz="1600" dirty="0" err="1" smtClean="0"/>
              <a:t>of</a:t>
            </a:r>
            <a:r>
              <a:rPr lang="de-CH" sz="1600" dirty="0" smtClean="0"/>
              <a:t> Program Strategy &amp; Engagement </a:t>
            </a:r>
          </a:p>
          <a:p>
            <a:endParaRPr lang="de-CH" sz="1600" dirty="0"/>
          </a:p>
          <a:p>
            <a:r>
              <a:rPr lang="de-CH" sz="1600" dirty="0" smtClean="0"/>
              <a:t>DevOps &amp; Development Practices Group, IT S&amp;A, </a:t>
            </a:r>
            <a:r>
              <a:rPr lang="de-CH" sz="1600" dirty="0" err="1" smtClean="0"/>
              <a:t>Credit</a:t>
            </a:r>
            <a:r>
              <a:rPr lang="de-CH" sz="1600" dirty="0" smtClean="0"/>
              <a:t> Suisse</a:t>
            </a:r>
            <a:endParaRPr lang="en-US" sz="16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845184" y="2250113"/>
            <a:ext cx="2430016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 smtClean="0"/>
              <a:t>Duncan Lawie</a:t>
            </a:r>
          </a:p>
          <a:p>
            <a:r>
              <a:rPr lang="de-CH" sz="1600" dirty="0" smtClean="0"/>
              <a:t>Head </a:t>
            </a:r>
            <a:r>
              <a:rPr lang="de-CH" sz="1600" dirty="0" err="1" smtClean="0"/>
              <a:t>of</a:t>
            </a:r>
            <a:r>
              <a:rPr lang="de-CH" sz="1600" dirty="0" smtClean="0"/>
              <a:t> Strategy &amp; </a:t>
            </a:r>
            <a:r>
              <a:rPr lang="de-CH" sz="1600" dirty="0" err="1" smtClean="0"/>
              <a:t>Governance</a:t>
            </a:r>
            <a:endParaRPr lang="de-CH" sz="1600" dirty="0" smtClean="0"/>
          </a:p>
          <a:p>
            <a:endParaRPr lang="de-CH" sz="1600" dirty="0"/>
          </a:p>
          <a:p>
            <a:r>
              <a:rPr lang="de-CH" sz="1600" dirty="0" smtClean="0"/>
              <a:t>DevOps </a:t>
            </a:r>
            <a:r>
              <a:rPr lang="de-CH" sz="1600" dirty="0"/>
              <a:t>&amp; Development Practices Group, IT S&amp;A, </a:t>
            </a:r>
            <a:r>
              <a:rPr lang="de-CH" sz="1600" dirty="0" err="1"/>
              <a:t>Credit</a:t>
            </a:r>
            <a:r>
              <a:rPr lang="de-CH" sz="1600" dirty="0"/>
              <a:t> Suiss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93896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063" y="1412875"/>
            <a:ext cx="3600451" cy="4752975"/>
          </a:xfrm>
        </p:spPr>
        <p:txBody>
          <a:bodyPr/>
          <a:lstStyle/>
          <a:p>
            <a:r>
              <a:rPr lang="en-GB" dirty="0" smtClean="0"/>
              <a:t>Beautiful newly reopened bar in Swiss mountain village Zermatt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king at a Bar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Tools, Tools, Tools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1112"/>
            <a:ext cx="3564000" cy="2376000"/>
          </a:xfrm>
          <a:prstGeom prst="rect">
            <a:avLst/>
          </a:prstGeom>
        </p:spPr>
      </p:pic>
      <p:sp>
        <p:nvSpPr>
          <p:cNvPr id="16" name="Footer"/>
          <p:cNvSpPr>
            <a:spLocks noGrp="1"/>
          </p:cNvSpPr>
          <p:nvPr>
            <p:ph type="ftr" sz="quarter" idx="4294967295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11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/>
              <a:t>Tools: Which one to buy?</a:t>
            </a:r>
          </a:p>
          <a:p>
            <a:pPr lvl="1"/>
            <a:r>
              <a:rPr lang="en-GB" dirty="0"/>
              <a:t>Stability</a:t>
            </a:r>
          </a:p>
          <a:p>
            <a:pPr lvl="1"/>
            <a:r>
              <a:rPr lang="en-GB" dirty="0" smtClean="0"/>
              <a:t>Sustainability</a:t>
            </a:r>
            <a:endParaRPr lang="en-GB" dirty="0"/>
          </a:p>
          <a:p>
            <a:pPr lvl="1"/>
            <a:r>
              <a:rPr lang="en-GB" dirty="0"/>
              <a:t>Ease of Usage</a:t>
            </a:r>
          </a:p>
          <a:p>
            <a:pPr lvl="1"/>
            <a:r>
              <a:rPr lang="en-GB" dirty="0"/>
              <a:t>Speed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063" y="1412875"/>
            <a:ext cx="3600451" cy="4752975"/>
          </a:xfrm>
        </p:spPr>
        <p:txBody>
          <a:bodyPr/>
          <a:lstStyle/>
          <a:p>
            <a:r>
              <a:rPr lang="en-GB" dirty="0" smtClean="0"/>
              <a:t>Beautiful newly reopened bar in Swiss mountain village Zermatt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king at a Bar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Tools, Tools, Tools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1112"/>
            <a:ext cx="3564000" cy="2376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5208"/>
            <a:ext cx="3564000" cy="2376000"/>
          </a:xfrm>
          <a:prstGeom prst="rect">
            <a:avLst/>
          </a:prstGeom>
        </p:spPr>
      </p:pic>
      <p:sp>
        <p:nvSpPr>
          <p:cNvPr id="16" name="Footer"/>
          <p:cNvSpPr>
            <a:spLocks noGrp="1"/>
          </p:cNvSpPr>
          <p:nvPr>
            <p:ph type="ftr" sz="quarter" idx="4294967295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11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5750" y="1412875"/>
            <a:ext cx="3595449" cy="4752975"/>
          </a:xfrm>
        </p:spPr>
        <p:txBody>
          <a:bodyPr/>
          <a:lstStyle/>
          <a:p>
            <a:r>
              <a:rPr lang="en-GB" dirty="0" smtClean="0"/>
              <a:t>Providing </a:t>
            </a:r>
            <a:r>
              <a:rPr lang="en-GB" dirty="0"/>
              <a:t>best service to customer, while having a great time!</a:t>
            </a:r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1434" y="1412875"/>
            <a:ext cx="3649133" cy="4752975"/>
          </a:xfrm>
        </p:spPr>
        <p:txBody>
          <a:bodyPr/>
          <a:lstStyle/>
          <a:p>
            <a:r>
              <a:rPr lang="en-GB" dirty="0"/>
              <a:t>Tools: Which one to buy?</a:t>
            </a:r>
          </a:p>
          <a:p>
            <a:pPr lvl="1"/>
            <a:r>
              <a:rPr lang="en-GB" dirty="0"/>
              <a:t>Stability</a:t>
            </a:r>
          </a:p>
          <a:p>
            <a:pPr lvl="1"/>
            <a:r>
              <a:rPr lang="en-GB" dirty="0" smtClean="0"/>
              <a:t>Sustainability</a:t>
            </a:r>
            <a:endParaRPr lang="en-GB" dirty="0"/>
          </a:p>
          <a:p>
            <a:pPr lvl="1"/>
            <a:r>
              <a:rPr lang="en-GB" dirty="0"/>
              <a:t>Ease of Usage</a:t>
            </a:r>
          </a:p>
          <a:p>
            <a:pPr lvl="1"/>
            <a:r>
              <a:rPr lang="en-GB" dirty="0"/>
              <a:t>Speed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063" y="1412875"/>
            <a:ext cx="3600451" cy="4752975"/>
          </a:xfrm>
        </p:spPr>
        <p:txBody>
          <a:bodyPr/>
          <a:lstStyle/>
          <a:p>
            <a:r>
              <a:rPr lang="en-GB" dirty="0" smtClean="0"/>
              <a:t>Beautiful newly reopened bar in Swiss mountain village Zermatt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king at a Bar</a:t>
            </a:r>
            <a:br>
              <a:rPr lang="en-GB" dirty="0" smtClean="0"/>
            </a:br>
            <a:r>
              <a:rPr lang="en-GB" dirty="0" smtClean="0">
                <a:solidFill>
                  <a:srgbClr val="A8A8A7"/>
                </a:solidFill>
              </a:rPr>
              <a:t>Tools, Tools, Tools</a:t>
            </a:r>
            <a:endParaRPr lang="en-GB" dirty="0">
              <a:solidFill>
                <a:srgbClr val="A8A8A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1112"/>
            <a:ext cx="3564000" cy="2376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2925208"/>
            <a:ext cx="3564000" cy="2376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474" y="3789304"/>
            <a:ext cx="3564000" cy="2376000"/>
          </a:xfrm>
          <a:prstGeom prst="rect">
            <a:avLst/>
          </a:prstGeom>
        </p:spPr>
      </p:pic>
      <p:sp>
        <p:nvSpPr>
          <p:cNvPr id="16" name="Footer"/>
          <p:cNvSpPr>
            <a:spLocks noGrp="1"/>
          </p:cNvSpPr>
          <p:nvPr>
            <p:ph type="ftr" sz="quarter" idx="4294967295"/>
          </p:nvPr>
        </p:nvSpPr>
        <p:spPr bwMode="gray"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REDIT SUISSE AG, IT Strategy &amp; Architecture, Andrea Hausmann &amp; Duncan Law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366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237" y="1412875"/>
            <a:ext cx="3600451" cy="4752975"/>
          </a:xfrm>
        </p:spPr>
        <p:txBody>
          <a:bodyPr/>
          <a:lstStyle/>
          <a:p>
            <a:r>
              <a:rPr lang="en-GB" dirty="0" smtClean="0"/>
              <a:t>Graduated in Business Mathematics from university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runching Numbers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0848"/>
            <a:ext cx="3564348" cy="23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04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June 202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REDIT SUISSE AG, IT Strategy &amp; Architecture, Andrea Hausmann &amp; Duncan Lawi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277055" y="1412875"/>
            <a:ext cx="3649133" cy="4752975"/>
          </a:xfrm>
        </p:spPr>
        <p:txBody>
          <a:bodyPr/>
          <a:lstStyle/>
          <a:p>
            <a:r>
              <a:rPr lang="en-GB" dirty="0"/>
              <a:t>Tools: </a:t>
            </a:r>
            <a:r>
              <a:rPr lang="en-GB" dirty="0" smtClean="0"/>
              <a:t>How </a:t>
            </a:r>
            <a:r>
              <a:rPr lang="en-GB" dirty="0"/>
              <a:t>to </a:t>
            </a:r>
            <a:r>
              <a:rPr lang="en-GB" dirty="0" smtClean="0"/>
              <a:t>visualize the insights?</a:t>
            </a:r>
            <a:endParaRPr lang="en-GB" dirty="0"/>
          </a:p>
          <a:p>
            <a:pPr lvl="1"/>
            <a:r>
              <a:rPr lang="en-GB" dirty="0"/>
              <a:t>Stability</a:t>
            </a:r>
          </a:p>
          <a:p>
            <a:pPr lvl="1"/>
            <a:r>
              <a:rPr lang="en-GB" dirty="0"/>
              <a:t>Sustainability</a:t>
            </a:r>
          </a:p>
          <a:p>
            <a:pPr lvl="1"/>
            <a:r>
              <a:rPr lang="en-GB" dirty="0"/>
              <a:t>Ease of Usage</a:t>
            </a:r>
          </a:p>
          <a:p>
            <a:pPr lvl="1"/>
            <a:r>
              <a:rPr lang="en-GB" dirty="0"/>
              <a:t>Speed</a:t>
            </a:r>
          </a:p>
          <a:p>
            <a:pPr lvl="1"/>
            <a:r>
              <a:rPr lang="en-GB" dirty="0"/>
              <a:t>…</a:t>
            </a:r>
          </a:p>
          <a:p>
            <a:pPr lvl="1"/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35237" y="1412875"/>
            <a:ext cx="3600451" cy="4752975"/>
          </a:xfrm>
        </p:spPr>
        <p:txBody>
          <a:bodyPr/>
          <a:lstStyle/>
          <a:p>
            <a:r>
              <a:rPr lang="en-GB" dirty="0" smtClean="0"/>
              <a:t>Graduated in Business Mathematics from university</a:t>
            </a:r>
            <a:endParaRPr lang="en-GB" dirty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runching Numbers</a:t>
            </a:r>
            <a:br>
              <a:rPr lang="en-GB" dirty="0" smtClean="0"/>
            </a:br>
            <a:r>
              <a:rPr lang="en-GB" dirty="0">
                <a:solidFill>
                  <a:srgbClr val="A8A8A7"/>
                </a:solidFill>
              </a:rPr>
              <a:t>Tools, Tools, Tool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88" y="2060848"/>
            <a:ext cx="3564348" cy="2376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621" y="2925208"/>
            <a:ext cx="3564000" cy="23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872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scUb25SACZE7nYLB4a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a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ay 6">
      <a:srgbClr val="575756"/>
    </a:custClr>
    <a:custClr name="Credit Suisse Gra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ay 5">
      <a:srgbClr val="7C7C7B"/>
    </a:custClr>
    <a:custClr name="Credit Suisse Gra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a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1362</Words>
  <Application>Microsoft Office PowerPoint</Application>
  <PresentationFormat>Widescreen</PresentationFormat>
  <Paragraphs>249</Paragraphs>
  <Slides>2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redit Suisse Headline</vt:lpstr>
      <vt:lpstr>Credit Suisse Type Light</vt:lpstr>
      <vt:lpstr>Wingdings</vt:lpstr>
      <vt:lpstr>blank</vt:lpstr>
      <vt:lpstr>think-cell Slide</vt:lpstr>
      <vt:lpstr>PowerPoint Presentation</vt:lpstr>
      <vt:lpstr>DevOps Beyond the Tools DevOps Enterprise Summit London</vt:lpstr>
      <vt:lpstr>Credit Suisse Founded 1856</vt:lpstr>
      <vt:lpstr>Meet the Speakers Andrea &amp; Duncan</vt:lpstr>
      <vt:lpstr>Working at a Bar Tools, Tools, Tools</vt:lpstr>
      <vt:lpstr>Working at a Bar Tools, Tools, Tools</vt:lpstr>
      <vt:lpstr>Working at a Bar Tools, Tools, Tools</vt:lpstr>
      <vt:lpstr>Crunching Numbers Tools, Tools, Tools</vt:lpstr>
      <vt:lpstr>Crunching Numbers Tools, Tools, Tools</vt:lpstr>
      <vt:lpstr>Crunching Numbers Tools, Tools, Tools</vt:lpstr>
      <vt:lpstr>A DevOps Working Group People are People</vt:lpstr>
      <vt:lpstr>A DevOps Working Group People are People</vt:lpstr>
      <vt:lpstr>A DevOps Working Group People are People</vt:lpstr>
      <vt:lpstr>A DevOps Working Group People are People</vt:lpstr>
      <vt:lpstr>Power, Politics and Protection People are People</vt:lpstr>
      <vt:lpstr>Managing what you want to Measure People are People</vt:lpstr>
      <vt:lpstr>Learning how to Measure People are People</vt:lpstr>
      <vt:lpstr>A DevOps Satisfaction Survey People are People</vt:lpstr>
      <vt:lpstr>Central DevOps Toolchain for Credit Suisse Tools, Tools, Tools</vt:lpstr>
      <vt:lpstr>Central DevOps Toolchain for Credit Suisse Tools, Tools, Tools</vt:lpstr>
      <vt:lpstr>Central DevOps Toolchain for Credit Suisse Tools, Tools, Tools</vt:lpstr>
      <vt:lpstr>Individual, Team and Customer Goals Balance</vt:lpstr>
      <vt:lpstr>Individual, Team and Customer Goals Balance</vt:lpstr>
      <vt:lpstr>Individual, Team and Customer Goals Balance</vt:lpstr>
      <vt:lpstr>Hire Engineers – but not only Balance </vt:lpstr>
      <vt:lpstr>Hire Engineers – but not only Balance </vt:lpstr>
      <vt:lpstr>Hire Engineers – but not only Balance </vt:lpstr>
      <vt:lpstr>The Impact Balance</vt:lpstr>
      <vt:lpstr>More Mountains to Climb The journey continues</vt:lpstr>
    </vt:vector>
  </TitlesOfParts>
  <Company>Credit Suis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dit Suisse Headline font 40 pt Add title line 2 Add subtitle</dc:title>
  <dc:creator>Lawie, Duncan (MLSB)</dc:creator>
  <cp:lastModifiedBy>Lawie, Duncan (MLSB)</cp:lastModifiedBy>
  <cp:revision>53</cp:revision>
  <dcterms:created xsi:type="dcterms:W3CDTF">2020-05-27T17:15:35Z</dcterms:created>
  <dcterms:modified xsi:type="dcterms:W3CDTF">2020-06-16T11:2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834b02a-1bdd-4641-998e-7843c391e48d</vt:lpwstr>
  </property>
  <property fmtid="{D5CDD505-2E9C-101B-9397-08002B2CF9AE}" pid="3" name="_NewReviewCycle">
    <vt:lpwstr/>
  </property>
  <property fmtid="{D5CDD505-2E9C-101B-9397-08002B2CF9AE}" pid="4" name="_SIProp12DataClass+304a34c9-5b17-4e2a-bdc3-dec6a43f35e7">
    <vt:lpwstr>v=1.2&gt;I=304a34c9-5b17-4e2a-bdc3-dec6a43f35e7&amp;N=Unrestricted&amp;V=1.3&amp;U=S-1-5-21-2278521704-3980307904-2497600207-98787&amp;D=Wanat%2c+Monika+(MCIZ+33)&amp;A=Associated&amp;H=False</vt:lpwstr>
  </property>
  <property fmtid="{D5CDD505-2E9C-101B-9397-08002B2CF9AE}" pid="5" name="Classification">
    <vt:lpwstr>Unrestricted</vt:lpwstr>
  </property>
</Properties>
</file>